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660" r:id="rId5"/>
    <p:sldMasterId id="2147483723" r:id="rId6"/>
    <p:sldMasterId id="2147483773" r:id="rId7"/>
  </p:sldMasterIdLst>
  <p:notesMasterIdLst>
    <p:notesMasterId r:id="rId9"/>
  </p:notesMasterIdLst>
  <p:sldIdLst>
    <p:sldId id="473" r:id="rId8"/>
  </p:sldIdLst>
  <p:sldSz cx="12192000" cy="6858000"/>
  <p:notesSz cx="6858000" cy="9144000"/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ntoring" id="{301728E0-0177-4A8A-8636-72A7C6D9129F}">
          <p14:sldIdLst>
            <p14:sldId id="4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59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pos="143" userDrawn="1">
          <p15:clr>
            <a:srgbClr val="A4A3A4"/>
          </p15:clr>
        </p15:guide>
        <p15:guide id="6" pos="751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yer, Stephen (BEIS)" initials="D(" lastIdx="13" clrIdx="0">
    <p:extLst>
      <p:ext uri="{19B8F6BF-5375-455C-9EA6-DF929625EA0E}">
        <p15:presenceInfo xmlns:p15="http://schemas.microsoft.com/office/powerpoint/2012/main" userId="S::stephen.dyer@beis.gov.uk::16eeb54a-4084-44c1-88a9-391f919d9043" providerId="AD"/>
      </p:ext>
    </p:extLst>
  </p:cmAuthor>
  <p:cmAuthor id="2" name="Mitchell, Jasmine (Implementation &amp; Delivery)" initials="MD" lastIdx="2" clrIdx="1">
    <p:extLst>
      <p:ext uri="{19B8F6BF-5375-455C-9EA6-DF929625EA0E}">
        <p15:presenceInfo xmlns:p15="http://schemas.microsoft.com/office/powerpoint/2012/main" userId="S::jasmine.mitchell@beis.gov.uk::e879df12-e78b-4eb9-b844-ee5e9e20651f" providerId="AD"/>
      </p:ext>
    </p:extLst>
  </p:cmAuthor>
  <p:cmAuthor id="3" name="Ekwere, Aniekan (Business Growth)" initials="EG" lastIdx="20" clrIdx="2">
    <p:extLst>
      <p:ext uri="{19B8F6BF-5375-455C-9EA6-DF929625EA0E}">
        <p15:presenceInfo xmlns:p15="http://schemas.microsoft.com/office/powerpoint/2012/main" userId="S::aniekan.ekwere@beis.gov.uk::e51baefc-ed03-4ad2-b183-f1174d775094" providerId="AD"/>
      </p:ext>
    </p:extLst>
  </p:cmAuthor>
  <p:cmAuthor id="4" name="Hayer, Poonam (BEIS)" initials="HP(" lastIdx="9" clrIdx="3">
    <p:extLst>
      <p:ext uri="{19B8F6BF-5375-455C-9EA6-DF929625EA0E}">
        <p15:presenceInfo xmlns:p15="http://schemas.microsoft.com/office/powerpoint/2012/main" userId="S::poonam.hayer@beis.gov.uk::ee03fe57-8df6-4315-8e17-6609f0e9dc84" providerId="AD"/>
      </p:ext>
    </p:extLst>
  </p:cmAuthor>
  <p:cmAuthor id="5" name="Akram, Navid (BEIS)" initials="AN(" lastIdx="4" clrIdx="4">
    <p:extLst>
      <p:ext uri="{19B8F6BF-5375-455C-9EA6-DF929625EA0E}">
        <p15:presenceInfo xmlns:p15="http://schemas.microsoft.com/office/powerpoint/2012/main" userId="S::Navid.Akram@beis.gov.uk::24e27473-f70c-4f45-98a8-257aba372446" providerId="AD"/>
      </p:ext>
    </p:extLst>
  </p:cmAuthor>
  <p:cmAuthor id="6" name="Harrison, Daniel (Business Growth)" initials="HG" lastIdx="12" clrIdx="5">
    <p:extLst>
      <p:ext uri="{19B8F6BF-5375-455C-9EA6-DF929625EA0E}">
        <p15:presenceInfo xmlns:p15="http://schemas.microsoft.com/office/powerpoint/2012/main" userId="S::daniel.harrison@beis.gov.uk::2ac778c1-8611-4cf3-b147-29bc9a4f4bed" providerId="AD"/>
      </p:ext>
    </p:extLst>
  </p:cmAuthor>
  <p:cmAuthor id="7" name="Stevenson Hyde, Auryn (Business Growth)" initials="SG" lastIdx="4" clrIdx="6">
    <p:extLst>
      <p:ext uri="{19B8F6BF-5375-455C-9EA6-DF929625EA0E}">
        <p15:presenceInfo xmlns:p15="http://schemas.microsoft.com/office/powerpoint/2012/main" userId="S::auryn.stevensonhyde@beis.gov.uk::d82fc477-d6ab-4403-b62a-4d1b5744c4b0" providerId="AD"/>
      </p:ext>
    </p:extLst>
  </p:cmAuthor>
  <p:cmAuthor id="8" name="Mcfarlane, Stephanie (Business Growth)" initials="MS(G" lastIdx="1" clrIdx="7">
    <p:extLst>
      <p:ext uri="{19B8F6BF-5375-455C-9EA6-DF929625EA0E}">
        <p15:presenceInfo xmlns:p15="http://schemas.microsoft.com/office/powerpoint/2012/main" userId="S::Stephanie.McFarlane@beis.gov.uk::c5df6901-d512-44e0-95ff-3594d64ce951" providerId="AD"/>
      </p:ext>
    </p:extLst>
  </p:cmAuthor>
  <p:cmAuthor id="9" name="Sharp, Kevin (Business Growth)" initials="SK(G" lastIdx="10" clrIdx="8">
    <p:extLst>
      <p:ext uri="{19B8F6BF-5375-455C-9EA6-DF929625EA0E}">
        <p15:presenceInfo xmlns:p15="http://schemas.microsoft.com/office/powerpoint/2012/main" userId="S::kevin.sharp@cirrus.beis.gov.uk::ab5b393b-a26d-4203-aea9-d4213e1690ab" providerId="AD"/>
      </p:ext>
    </p:extLst>
  </p:cmAuthor>
  <p:cmAuthor id="10" name="Hutton, Henry (BEIS)" initials="HH(" lastIdx="11" clrIdx="9">
    <p:extLst>
      <p:ext uri="{19B8F6BF-5375-455C-9EA6-DF929625EA0E}">
        <p15:presenceInfo xmlns:p15="http://schemas.microsoft.com/office/powerpoint/2012/main" userId="S::Henry.Hutton@beis.gov.uk::fd3e7d11-fe39-455a-aaea-d035f5baff72" providerId="AD"/>
      </p:ext>
    </p:extLst>
  </p:cmAuthor>
  <p:cmAuthor id="11" name="Rees, James (Business Growth)" initials="RG" lastIdx="1" clrIdx="10">
    <p:extLst>
      <p:ext uri="{19B8F6BF-5375-455C-9EA6-DF929625EA0E}">
        <p15:presenceInfo xmlns:p15="http://schemas.microsoft.com/office/powerpoint/2012/main" userId="S::james.rees@beis.gov.uk::8232ce18-5981-48de-b187-d38183bee780" providerId="AD"/>
      </p:ext>
    </p:extLst>
  </p:cmAuthor>
  <p:cmAuthor id="12" name="Okonweze, Austen (Industrial Strategy)" initials="OS" lastIdx="3" clrIdx="11">
    <p:extLst>
      <p:ext uri="{19B8F6BF-5375-455C-9EA6-DF929625EA0E}">
        <p15:presenceInfo xmlns:p15="http://schemas.microsoft.com/office/powerpoint/2012/main" userId="S::austen.okonweze@beis.gov.uk::91744241-84e2-4031-a6fe-58d19b687528" providerId="AD"/>
      </p:ext>
    </p:extLst>
  </p:cmAuthor>
  <p:cmAuthor id="13" name="Rees, James (Business Growth)" initials="RJ(G" lastIdx="8" clrIdx="12">
    <p:extLst>
      <p:ext uri="{19B8F6BF-5375-455C-9EA6-DF929625EA0E}">
        <p15:presenceInfo xmlns:p15="http://schemas.microsoft.com/office/powerpoint/2012/main" userId="S::james.rees@cirrus.beis.gov.uk::8232ce18-5981-48de-b187-d38183bee780" providerId="AD"/>
      </p:ext>
    </p:extLst>
  </p:cmAuthor>
  <p:cmAuthor id="14" name="Okonweze, Austen (Industrial Strategy)" initials="OA(S" lastIdx="31" clrIdx="13">
    <p:extLst>
      <p:ext uri="{19B8F6BF-5375-455C-9EA6-DF929625EA0E}">
        <p15:presenceInfo xmlns:p15="http://schemas.microsoft.com/office/powerpoint/2012/main" userId="S::austen.okonweze@officeforlifesciences.gov.uk::91744241-84e2-4031-a6fe-58d19b687528" providerId="AD"/>
      </p:ext>
    </p:extLst>
  </p:cmAuthor>
  <p:cmAuthor id="15" name="Child, Tom (Business Growth)" initials="CG" lastIdx="1" clrIdx="14">
    <p:extLst>
      <p:ext uri="{19B8F6BF-5375-455C-9EA6-DF929625EA0E}">
        <p15:presenceInfo xmlns:p15="http://schemas.microsoft.com/office/powerpoint/2012/main" userId="S::tom.child@beis.gov.uk::937cb172-0dc5-4124-9c47-a09c3b57fa5a" providerId="AD"/>
      </p:ext>
    </p:extLst>
  </p:cmAuthor>
  <p:cmAuthor id="16" name="Castillo-Soto, Alexis (BEIS)" initials="C(" lastIdx="1" clrIdx="15">
    <p:extLst>
      <p:ext uri="{19B8F6BF-5375-455C-9EA6-DF929625EA0E}">
        <p15:presenceInfo xmlns:p15="http://schemas.microsoft.com/office/powerpoint/2012/main" userId="S::alexis.castillo-soto@beis.gov.uk::6b6b6551-fe34-4cc2-8e7f-f1694023bebb" providerId="AD"/>
      </p:ext>
    </p:extLst>
  </p:cmAuthor>
  <p:cmAuthor id="17" name="Rafferty, Niamh (BEIS)" initials="RN(" lastIdx="24" clrIdx="16">
    <p:extLst>
      <p:ext uri="{19B8F6BF-5375-455C-9EA6-DF929625EA0E}">
        <p15:presenceInfo xmlns:p15="http://schemas.microsoft.com/office/powerpoint/2012/main" userId="Rafferty, Niamh (BEIS)" providerId="None"/>
      </p:ext>
    </p:extLst>
  </p:cmAuthor>
  <p:cmAuthor id="18" name="Inge, Laura (BEIS)" initials="I(" lastIdx="5" clrIdx="17">
    <p:extLst>
      <p:ext uri="{19B8F6BF-5375-455C-9EA6-DF929625EA0E}">
        <p15:presenceInfo xmlns:p15="http://schemas.microsoft.com/office/powerpoint/2012/main" userId="S::laura.inge@beis.gov.uk::a60f48ab-43b6-403e-a3ee-e9d814dcc543" providerId="AD"/>
      </p:ext>
    </p:extLst>
  </p:cmAuthor>
  <p:cmAuthor id="19" name="Aston, Rebecca" initials="AR" lastIdx="1" clrIdx="18">
    <p:extLst>
      <p:ext uri="{19B8F6BF-5375-455C-9EA6-DF929625EA0E}">
        <p15:presenceInfo xmlns:p15="http://schemas.microsoft.com/office/powerpoint/2012/main" userId="S::raston_deloitte.co.uk#ext#@beisgov.onmicrosoft.com::8b20dafe-2193-4435-9101-3d9157f8e0a2" providerId="AD"/>
      </p:ext>
    </p:extLst>
  </p:cmAuthor>
  <p:cmAuthor id="20" name="Sharp, Kevin (Business Growth)" initials="SG" lastIdx="3" clrIdx="19">
    <p:extLst>
      <p:ext uri="{19B8F6BF-5375-455C-9EA6-DF929625EA0E}">
        <p15:presenceInfo xmlns:p15="http://schemas.microsoft.com/office/powerpoint/2012/main" userId="S::kevin.sharp@beis.gov.uk::ab5b393b-a26d-4203-aea9-d4213e1690ab" providerId="AD"/>
      </p:ext>
    </p:extLst>
  </p:cmAuthor>
  <p:cmAuthor id="21" name="Ellington, Amy - HMT" initials="EA-H" lastIdx="27" clrIdx="20">
    <p:extLst>
      <p:ext uri="{19B8F6BF-5375-455C-9EA6-DF929625EA0E}">
        <p15:presenceInfo xmlns:p15="http://schemas.microsoft.com/office/powerpoint/2012/main" userId="S::Amy.Ellington@hmtreasury.gov.uk::d63d1b15-c6da-4d4f-a028-f6430a10eee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1934"/>
    <a:srgbClr val="CFDEEA"/>
    <a:srgbClr val="0B5086"/>
    <a:srgbClr val="E5ECF3"/>
    <a:srgbClr val="DAE4EE"/>
    <a:srgbClr val="D4E0EC"/>
    <a:srgbClr val="D2DEEA"/>
    <a:srgbClr val="FFB000"/>
    <a:srgbClr val="0D5998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884" autoAdjust="0"/>
  </p:normalViewPr>
  <p:slideViewPr>
    <p:cSldViewPr snapToGrid="0">
      <p:cViewPr varScale="1">
        <p:scale>
          <a:sx n="104" d="100"/>
          <a:sy n="104" d="100"/>
        </p:scale>
        <p:origin x="834" y="108"/>
      </p:cViewPr>
      <p:guideLst>
        <p:guide orient="horz" pos="2160"/>
        <p:guide pos="3840"/>
        <p:guide orient="horz" pos="459"/>
        <p:guide orient="horz" pos="3861"/>
        <p:guide pos="143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8B0E1-979E-4E4E-B223-146FA6C94530}" type="datetimeFigureOut">
              <a:rPr lang="en-GB" smtClean="0"/>
              <a:t>23/09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47F14F-8237-4E67-A316-3FCD42FA785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5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47F14F-8237-4E67-A316-3FCD42FA785B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0922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268" y="1133380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4F380-6F0E-49EB-A723-F171C6D0F5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270" y="4376172"/>
            <a:ext cx="2838425" cy="503238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4399168-473B-4606-912C-0551B05E9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308847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283705-6AEA-4283-BBB6-AAFBAA9B2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428490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F0152F5-51D7-4202-99E8-E72B6F8DC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3098116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172224F-3B29-4C35-B2E0-7D0815A432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551648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E06CB655-E941-4757-AC1C-778EFFE974B1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E19091B1-4699-4D49-A34C-B4B6BEA81288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F86384B-4613-45DF-AD09-EC6637DBB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995430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6F18EF0-0E19-4A89-AFC8-F1251653488F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B497659-21E6-47C4-9675-B3B5B8D8C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072330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852270-0650-455A-9FE5-FB8DE1F49B04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44D9845-7CF3-4478-8E28-FA9964B60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6463250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CCC873-6D14-4AD5-8EC1-EED3C8FD750A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78055-CC98-4AF4-978D-BDA630A427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04975" y="2017713"/>
            <a:ext cx="4086225" cy="509587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E4F56F-4EFC-499F-993F-476AA7A9D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04355" y="3044424"/>
            <a:ext cx="10487645" cy="2388187"/>
          </a:xfr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B35875-F30D-4DA7-88F8-1A34314BA1C4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49CBF27-7BE1-46A6-8C6C-A2CBE2F11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37656842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C6EAD9-47D1-4110-B679-6DCC2E62D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0270" y="2827513"/>
            <a:ext cx="9579824" cy="2793358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A05358-6A4C-4039-9B32-2ED1E3AAC2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BBCDA9E-331E-45BC-B25E-6C937FAE7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98578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E64B46-BB57-4B10-879F-41BBF90CED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F46A71-804D-4EA1-A056-E8D13CBFC4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1577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F081B265-0191-4473-9920-3B30DA23BE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575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82F2976D-639D-4FF2-B6C9-37D86DB9E6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576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35BB492-35D7-4F61-82EF-A53571122A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DD15BE3E-A3CF-4606-8893-1DEB4ADE6D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4766" y="1393015"/>
            <a:ext cx="309064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1070F9-7A0D-45BD-94FA-7C5C18F65AB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731D71-DE6B-45B5-8432-E9FFBFF3C9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487627-BBC1-45E4-AE45-5A9623663D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82C5737D-19B3-4B21-B189-7FF61CB6E5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63710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11C51D41-ED65-4F86-8322-083073E065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63708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0A5366D-F7F6-4221-BB8F-EB94781C12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63709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0C79216-6E35-4539-8DE4-E5D836201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30332502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AE7EFF-EEAE-4281-917F-D22BBDECE34C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046719-0D4A-448D-AF1E-FEFC785A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0387010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76" y="3085989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1DCEF59-BA64-42B6-8C90-65E16E2DF2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9518794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BD2650-C778-479F-8EDF-1EE2ED47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4EE9D68-8524-4653-B83C-F64BC90CD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4081260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FA0265-FBFA-474D-8EE2-3E1DB02F0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1759998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ou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1D6F7-E961-4C8D-9385-1A5991100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7786211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A9820-2DC3-4128-849A-35FFA3FA51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CAF7D1-4FBA-4F24-BB64-05CF03463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28A2EB-AE41-4BC6-92F6-CC5526664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E2C430-F26B-4732-85EE-C7C8F3545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BD67B4-8313-442F-B5FC-2144285CD2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9E18F-B8EF-4B0F-894D-FBBC740B270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459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BEFC0DD9-C00E-4E7E-AF3D-4922B0A0D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37546"/>
            <a:ext cx="4114800" cy="365125"/>
          </a:xfrm>
          <a:prstGeom prst="rect">
            <a:avLst/>
          </a:prstGeom>
        </p:spPr>
        <p:txBody>
          <a:bodyPr anchor="ctr"/>
          <a:lstStyle>
            <a:lvl1pPr algn="l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83E8BC5-B445-4302-A19E-F94F98218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261326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07010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B4E33-0BE5-4495-831B-B0B350330B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85707-5198-48C5-B3AB-C952553FC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42400" y="6231603"/>
            <a:ext cx="4114800" cy="365125"/>
          </a:xfrm>
          <a:prstGeom prst="rect">
            <a:avLst/>
          </a:prstGeom>
        </p:spPr>
        <p:txBody>
          <a:bodyPr anchor="ctr"/>
          <a:lstStyle>
            <a:lvl1pPr algn="l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i="1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93E3BD5-88B5-4125-A763-90EE742F7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2400" y="6231603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4364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id="{02BB5F5C-BAC2-44D3-B07F-6F11F0F21E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2BF648-AA5A-4633-A22C-837F84661E8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7154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268" y="1133380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4F380-6F0E-49EB-A723-F171C6D0F5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270" y="4376172"/>
            <a:ext cx="2838425" cy="503238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4399168-473B-4606-912C-0551B05E9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15241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76" y="3085989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1DCEF59-BA64-42B6-8C90-65E16E2DF2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0368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760A5B-872E-453E-8372-B68F57F454CD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0725373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2373163-9D68-4BDE-8B73-26F7170CFC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337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760A5B-872E-453E-8372-B68F57F454CD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0725373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2373163-9D68-4BDE-8B73-26F7170CFC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3247603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DE49D06-EA7F-4E85-BFC6-D8FEEB56BB95}"/>
              </a:ext>
            </a:extLst>
          </p:cNvPr>
          <p:cNvCxnSpPr>
            <a:cxnSpLocks/>
          </p:cNvCxnSpPr>
          <p:nvPr/>
        </p:nvCxnSpPr>
        <p:spPr>
          <a:xfrm>
            <a:off x="6098118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7467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F141ED5-346E-422F-A8AC-BCF03C580F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10744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1BE1D-99E6-4DE4-A9E1-352AADF168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548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6995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ECCB19-BEEB-493B-A0AE-E64F2E3142DD}"/>
              </a:ext>
            </a:extLst>
          </p:cNvPr>
          <p:cNvCxnSpPr>
            <a:cxnSpLocks/>
          </p:cNvCxnSpPr>
          <p:nvPr/>
        </p:nvCxnSpPr>
        <p:spPr>
          <a:xfrm>
            <a:off x="4082638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7190191-FE2D-4093-9882-27535411B68C}"/>
              </a:ext>
            </a:extLst>
          </p:cNvPr>
          <p:cNvCxnSpPr>
            <a:cxnSpLocks/>
          </p:cNvCxnSpPr>
          <p:nvPr/>
        </p:nvCxnSpPr>
        <p:spPr>
          <a:xfrm>
            <a:off x="7921966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6AF0CA07-4749-4EA3-9467-089982D1B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4850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3901AA3-F052-40D4-964C-5C03A18A88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9086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box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325042-9DF5-489C-8C75-269CB78BFE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1857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BE33554-6F61-41A8-9F59-437E0C24E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256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283705-6AEA-4283-BBB6-AAFBAA9B2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839754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F0152F5-51D7-4202-99E8-E72B6F8DC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20554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172224F-3B29-4C35-B2E0-7D0815A432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8181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E06CB655-E941-4757-AC1C-778EFFE974B1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E19091B1-4699-4D49-A34C-B4B6BEA81288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F86384B-4613-45DF-AD09-EC6637DBB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207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DE49D06-EA7F-4E85-BFC6-D8FEEB56BB95}"/>
              </a:ext>
            </a:extLst>
          </p:cNvPr>
          <p:cNvCxnSpPr>
            <a:cxnSpLocks/>
          </p:cNvCxnSpPr>
          <p:nvPr/>
        </p:nvCxnSpPr>
        <p:spPr>
          <a:xfrm>
            <a:off x="6098118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7467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F141ED5-346E-422F-A8AC-BCF03C580F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9193921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6F18EF0-0E19-4A89-AFC8-F1251653488F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B497659-21E6-47C4-9675-B3B5B8D8C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81024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852270-0650-455A-9FE5-FB8DE1F49B04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44D9845-7CF3-4478-8E28-FA9964B60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5626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CCC873-6D14-4AD5-8EC1-EED3C8FD750A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78055-CC98-4AF4-978D-BDA630A427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04975" y="2017713"/>
            <a:ext cx="4086225" cy="509587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E4F56F-4EFC-499F-993F-476AA7A9D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04355" y="3044424"/>
            <a:ext cx="10487645" cy="2388187"/>
          </a:xfr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B35875-F30D-4DA7-88F8-1A34314BA1C4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49CBF27-7BE1-46A6-8C6C-A2CBE2F11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68936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C6EAD9-47D1-4110-B679-6DCC2E62D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0270" y="2827513"/>
            <a:ext cx="9579824" cy="2793358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A05358-6A4C-4039-9B32-2ED1E3AAC2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BBCDA9E-331E-45BC-B25E-6C937FAE7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6670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E64B46-BB57-4B10-879F-41BBF90CED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F46A71-804D-4EA1-A056-E8D13CBFC4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1577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F081B265-0191-4473-9920-3B30DA23BE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575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82F2976D-639D-4FF2-B6C9-37D86DB9E6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576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35BB492-35D7-4F61-82EF-A53571122A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DD15BE3E-A3CF-4606-8893-1DEB4ADE6D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4766" y="1393015"/>
            <a:ext cx="309064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1070F9-7A0D-45BD-94FA-7C5C18F65AB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731D71-DE6B-45B5-8432-E9FFBFF3C9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487627-BBC1-45E4-AE45-5A9623663D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82C5737D-19B3-4B21-B189-7FF61CB6E5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63710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11C51D41-ED65-4F86-8322-083073E065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63708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0A5366D-F7F6-4221-BB8F-EB94781C12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63709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0C79216-6E35-4539-8DE4-E5D836201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01655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AE7EFF-EEAE-4281-917F-D22BBDECE34C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046719-0D4A-448D-AF1E-FEFC785A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02845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BD2650-C778-479F-8EDF-1EE2ED47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4EE9D68-8524-4653-B83C-F64BC90CD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8831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FA0265-FBFA-474D-8EE2-3E1DB02F0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28602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ou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1D6F7-E961-4C8D-9385-1A5991100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0326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061AC5-C8FA-4BE7-B4B3-EAF584C18D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AB2B53-790C-4A06-BBA8-FB0E4E5A93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B7D16B-0411-4224-B329-EE42A9071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53A3E-468D-4184-BCDB-0B991DCBF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F210D1-0162-4D23-802F-B17CA37FC0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50876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1BE1D-99E6-4DE4-A9E1-352AADF168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7905501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268" y="1133380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4F380-6F0E-49EB-A723-F171C6D0F5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270" y="4376172"/>
            <a:ext cx="2838425" cy="503238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4399168-473B-4606-912C-0551B05E93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2481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76" y="3085989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1DCEF59-BA64-42B6-8C90-65E16E2DF2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5808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2760A5B-872E-453E-8372-B68F57F454CD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0725373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2373163-9D68-4BDE-8B73-26F7170CFC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248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DE49D06-EA7F-4E85-BFC6-D8FEEB56BB95}"/>
              </a:ext>
            </a:extLst>
          </p:cNvPr>
          <p:cNvCxnSpPr>
            <a:cxnSpLocks/>
          </p:cNvCxnSpPr>
          <p:nvPr/>
        </p:nvCxnSpPr>
        <p:spPr>
          <a:xfrm>
            <a:off x="6098118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7467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F141ED5-346E-422F-A8AC-BCF03C580F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62171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031BE1D-99E6-4DE4-A9E1-352AADF168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84206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6995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ECCB19-BEEB-493B-A0AE-E64F2E3142DD}"/>
              </a:ext>
            </a:extLst>
          </p:cNvPr>
          <p:cNvCxnSpPr>
            <a:cxnSpLocks/>
          </p:cNvCxnSpPr>
          <p:nvPr/>
        </p:nvCxnSpPr>
        <p:spPr>
          <a:xfrm>
            <a:off x="4082638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7190191-FE2D-4093-9882-27535411B68C}"/>
              </a:ext>
            </a:extLst>
          </p:cNvPr>
          <p:cNvCxnSpPr>
            <a:cxnSpLocks/>
          </p:cNvCxnSpPr>
          <p:nvPr/>
        </p:nvCxnSpPr>
        <p:spPr>
          <a:xfrm>
            <a:off x="7921966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6AF0CA07-4749-4EA3-9467-089982D1B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30043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3901AA3-F052-40D4-964C-5C03A18A88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9912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box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325042-9DF5-489C-8C75-269CB78BFE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8298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BE33554-6F61-41A8-9F59-437E0C24E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34507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2283705-6AEA-4283-BBB6-AAFBAA9B2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6034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6995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ECCB19-BEEB-493B-A0AE-E64F2E3142DD}"/>
              </a:ext>
            </a:extLst>
          </p:cNvPr>
          <p:cNvCxnSpPr>
            <a:cxnSpLocks/>
          </p:cNvCxnSpPr>
          <p:nvPr/>
        </p:nvCxnSpPr>
        <p:spPr>
          <a:xfrm>
            <a:off x="4082638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7190191-FE2D-4093-9882-27535411B68C}"/>
              </a:ext>
            </a:extLst>
          </p:cNvPr>
          <p:cNvCxnSpPr>
            <a:cxnSpLocks/>
          </p:cNvCxnSpPr>
          <p:nvPr/>
        </p:nvCxnSpPr>
        <p:spPr>
          <a:xfrm>
            <a:off x="7921966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6AF0CA07-4749-4EA3-9467-089982D1B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32929568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F0152F5-51D7-4202-99E8-E72B6F8DC3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74162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172224F-3B29-4C35-B2E0-7D0815A432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0482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E06CB655-E941-4757-AC1C-778EFFE974B1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E19091B1-4699-4D49-A34C-B4B6BEA81288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F86384B-4613-45DF-AD09-EC6637DBB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10390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6F18EF0-0E19-4A89-AFC8-F1251653488F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B497659-21E6-47C4-9675-B3B5B8D8C0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57180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852270-0650-455A-9FE5-FB8DE1F49B04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44D9845-7CF3-4478-8E28-FA9964B602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41072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CCC873-6D14-4AD5-8EC1-EED3C8FD750A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78055-CC98-4AF4-978D-BDA630A427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04975" y="2017713"/>
            <a:ext cx="4086225" cy="509587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E4F56F-4EFC-499F-993F-476AA7A9D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04355" y="3044424"/>
            <a:ext cx="10487645" cy="2388187"/>
          </a:xfr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B35875-F30D-4DA7-88F8-1A34314BA1C4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49CBF27-7BE1-46A6-8C6C-A2CBE2F11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6180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C6EAD9-47D1-4110-B679-6DCC2E62D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0270" y="2827513"/>
            <a:ext cx="9579824" cy="2793358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A05358-6A4C-4039-9B32-2ED1E3AAC2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BBCDA9E-331E-45BC-B25E-6C937FAE75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9045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E64B46-BB57-4B10-879F-41BBF90CED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F46A71-804D-4EA1-A056-E8D13CBFC4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1577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F081B265-0191-4473-9920-3B30DA23BE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575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82F2976D-639D-4FF2-B6C9-37D86DB9E6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576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35BB492-35D7-4F61-82EF-A53571122A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DD15BE3E-A3CF-4606-8893-1DEB4ADE6D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4766" y="1393015"/>
            <a:ext cx="309064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1070F9-7A0D-45BD-94FA-7C5C18F65AB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731D71-DE6B-45B5-8432-E9FFBFF3C9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487627-BBC1-45E4-AE45-5A9623663D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82C5737D-19B3-4B21-B189-7FF61CB6E5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63710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11C51D41-ED65-4F86-8322-083073E065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63708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0A5366D-F7F6-4221-BB8F-EB94781C12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63709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70C79216-6E35-4539-8DE4-E5D8362018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7143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AE7EFF-EEAE-4281-917F-D22BBDECE34C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046719-0D4A-448D-AF1E-FEFC785A74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82887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BD2650-C778-479F-8EDF-1EE2ED47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4EE9D68-8524-4653-B83C-F64BC90CD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773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3901AA3-F052-40D4-964C-5C03A18A88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8795806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ou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1D6F7-E961-4C8D-9385-1A59911002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5038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gca79ce7d64_0_411"/>
          <p:cNvSpPr txBox="1">
            <a:spLocks noGrp="1"/>
          </p:cNvSpPr>
          <p:nvPr>
            <p:ph type="body" idx="1"/>
          </p:nvPr>
        </p:nvSpPr>
        <p:spPr>
          <a:xfrm>
            <a:off x="711200" y="1268413"/>
            <a:ext cx="10769723" cy="489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133333"/>
              </a:lnSpc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gca79ce7d64_0_411"/>
          <p:cNvSpPr txBox="1">
            <a:spLocks noGrp="1"/>
          </p:cNvSpPr>
          <p:nvPr>
            <p:ph type="title"/>
          </p:nvPr>
        </p:nvSpPr>
        <p:spPr>
          <a:xfrm>
            <a:off x="711200" y="260350"/>
            <a:ext cx="10769723" cy="7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gca79ce7d64_0_411"/>
          <p:cNvSpPr txBox="1">
            <a:spLocks noGrp="1"/>
          </p:cNvSpPr>
          <p:nvPr>
            <p:ph type="sldNum" idx="12"/>
          </p:nvPr>
        </p:nvSpPr>
        <p:spPr>
          <a:xfrm>
            <a:off x="10871200" y="6400800"/>
            <a:ext cx="812677" cy="19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41200"/>
              </a:buClr>
              <a:buSzPts val="1400"/>
              <a:buFont typeface="Arial"/>
              <a:buNone/>
              <a:defRPr sz="1200" b="0" i="0" u="none" strike="noStrike" cap="none"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5" name="Google Shape;185;gca79ce7d64_0_411"/>
          <p:cNvSpPr txBox="1"/>
          <p:nvPr/>
        </p:nvSpPr>
        <p:spPr>
          <a:xfrm>
            <a:off x="1115277" y="6400800"/>
            <a:ext cx="9871385" cy="30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>
                <a:solidFill>
                  <a:srgbClr val="D0006F"/>
                </a:solidFill>
                <a:latin typeface="Arial"/>
                <a:ea typeface="Arial"/>
                <a:cs typeface="Arial"/>
                <a:sym typeface="Arial"/>
              </a:rPr>
              <a:t>OFF SEN – Not government policy</a:t>
            </a:r>
            <a:endParaRPr sz="1400" b="0" i="0" u="none" strike="noStrike" cap="none">
              <a:solidFill>
                <a:srgbClr val="D0006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612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268" y="1133380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C4F380-6F0E-49EB-A723-F171C6D0F5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270" y="4376172"/>
            <a:ext cx="2838425" cy="503238"/>
          </a:xfrm>
        </p:spPr>
        <p:txBody>
          <a:bodyPr anchor="ctr">
            <a:noAutofit/>
          </a:bodyPr>
          <a:lstStyle>
            <a:lvl1pPr marL="0" indent="0">
              <a:buNone/>
              <a:defRPr sz="1800" b="1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BEA3AD5-6EFF-4750-B84C-C47A47E36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284F4D-6F0B-4A5E-A6EB-C86C3ED1FCBC}"/>
              </a:ext>
            </a:extLst>
          </p:cNvPr>
          <p:cNvSpPr txBox="1"/>
          <p:nvPr userDrawn="1"/>
        </p:nvSpPr>
        <p:spPr>
          <a:xfrm>
            <a:off x="4768362" y="149470"/>
            <a:ext cx="26552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/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773196243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0DFAA36B-5DC4-429E-8D26-87C44C7D0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76" y="3085989"/>
            <a:ext cx="10515600" cy="2345291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F24FEAF-382B-422D-98B1-9839775F5411}"/>
              </a:ext>
            </a:extLst>
          </p:cNvPr>
          <p:cNvCxnSpPr>
            <a:cxnSpLocks/>
          </p:cNvCxnSpPr>
          <p:nvPr/>
        </p:nvCxnSpPr>
        <p:spPr>
          <a:xfrm>
            <a:off x="0" y="905330"/>
            <a:ext cx="12192000" cy="0"/>
          </a:xfrm>
          <a:prstGeom prst="line">
            <a:avLst/>
          </a:prstGeom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719ED2-E82A-4026-95E1-58FAC3955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0B08A40-CEA1-4420-8EF6-B9090C0556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4B7AE9-F037-418E-A4BA-3B4B21594FB2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1327989072"/>
      </p:ext>
    </p:extLst>
  </p:cSld>
  <p:clrMapOvr>
    <a:masterClrMapping/>
  </p:clrMapOvr>
  <p:hf hdr="0" ft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B26718-F9AD-4D39-BE11-93DFCB65F7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27698748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DE49D06-EA7F-4E85-BFC6-D8FEEB56BB95}"/>
              </a:ext>
            </a:extLst>
          </p:cNvPr>
          <p:cNvCxnSpPr>
            <a:cxnSpLocks/>
          </p:cNvCxnSpPr>
          <p:nvPr/>
        </p:nvCxnSpPr>
        <p:spPr>
          <a:xfrm>
            <a:off x="6098118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7467" y="1762907"/>
            <a:ext cx="5255684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5BC58658-3B19-4392-86CF-413B73F9AC47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70056252-BDA9-4078-B722-E47B2AA6B48D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364EC335-0BF2-4424-B688-1BB8FCE1A7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237ECD3-289B-4D0B-99C1-58DF7E8F2A5C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776686879"/>
      </p:ext>
    </p:extLst>
  </p:cSld>
  <p:clrMapOvr>
    <a:masterClrMapping/>
  </p:clrMapOvr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AF42ED97-3E4E-4BC1-8ECB-A2A0127C645E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D2913E8F-8CA0-43F8-8D9F-68ABCAC1A9C3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F3EEBA1C-5341-4385-A18A-609AB6F5CA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8342A9-FA1D-4070-91C7-C9F90696FD8F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690725579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092247C-DBBB-4D82-9041-FD3810D5BBF6}"/>
              </a:ext>
            </a:extLst>
          </p:cNvPr>
          <p:cNvCxnSpPr>
            <a:cxnSpLocks/>
          </p:cNvCxnSpPr>
          <p:nvPr/>
        </p:nvCxnSpPr>
        <p:spPr>
          <a:xfrm>
            <a:off x="246995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3ECCB19-BEEB-493B-A0AE-E64F2E3142DD}"/>
              </a:ext>
            </a:extLst>
          </p:cNvPr>
          <p:cNvCxnSpPr>
            <a:cxnSpLocks/>
          </p:cNvCxnSpPr>
          <p:nvPr/>
        </p:nvCxnSpPr>
        <p:spPr>
          <a:xfrm>
            <a:off x="4082638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7190191-FE2D-4093-9882-27535411B68C}"/>
              </a:ext>
            </a:extLst>
          </p:cNvPr>
          <p:cNvCxnSpPr>
            <a:cxnSpLocks/>
          </p:cNvCxnSpPr>
          <p:nvPr/>
        </p:nvCxnSpPr>
        <p:spPr>
          <a:xfrm>
            <a:off x="7921966" y="1731985"/>
            <a:ext cx="3434412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03110D43-839C-4E25-9F74-FFAB34AEE79C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84FA718C-1E93-4027-933B-CA1100DF9986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6A3444DA-F39C-49BB-A1A1-C060EC65C0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58A1DC-5553-4714-B933-02122744803A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2939655042"/>
      </p:ext>
    </p:extLst>
  </p:cSld>
  <p:clrMapOvr>
    <a:masterClrMapping/>
  </p:clrMapOvr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ithout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29C7DC1-EBAC-4E10-812B-5E21929CD882}"/>
              </a:ext>
            </a:extLst>
          </p:cNvPr>
          <p:cNvCxnSpPr>
            <a:cxnSpLocks/>
          </p:cNvCxnSpPr>
          <p:nvPr/>
        </p:nvCxnSpPr>
        <p:spPr>
          <a:xfrm>
            <a:off x="247427" y="941695"/>
            <a:ext cx="11106375" cy="0"/>
          </a:xfrm>
          <a:prstGeom prst="line">
            <a:avLst/>
          </a:prstGeom>
          <a:ln w="9525">
            <a:solidFill>
              <a:srgbClr val="0D59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73E57B9-5768-4513-BD8E-15615AB4AA0E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0C2508B-4949-4A81-8E32-4BEBFC8F88BF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F403881-73D8-4BCB-8D30-2BEE882613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6196BB7-F637-4D05-9613-97D3245FF3AF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104614900"/>
      </p:ext>
    </p:extLst>
  </p:cSld>
  <p:clrMapOvr>
    <a:masterClrMapping/>
  </p:clrMapOvr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box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8E28D792-BDC6-4741-B815-FC33CF4CEC94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CCD6E44-1911-4E8F-99A8-E6470FA28F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D23256-B379-420F-ADE6-EBC2338FE7CE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16792050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box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8C35B7-437D-4BE6-9B66-ED0B9A0A9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7D09F8-429B-4557-A486-27A5770CB0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427" y="1268762"/>
            <a:ext cx="10725373" cy="4505503"/>
          </a:xfrm>
        </p:spPr>
        <p:txBody>
          <a:bodyPr>
            <a:normAutofit/>
          </a:bodyPr>
          <a:lstStyle>
            <a:lvl1pPr marL="228600" indent="-228600">
              <a:defRPr sz="140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 sz="1400">
                <a:solidFill>
                  <a:schemeClr val="bg2">
                    <a:lumMod val="10000"/>
                  </a:schemeClr>
                </a:solidFill>
              </a:defRPr>
            </a:lvl2pPr>
            <a:lvl3pPr>
              <a:defRPr sz="1400">
                <a:solidFill>
                  <a:schemeClr val="bg2">
                    <a:lumMod val="10000"/>
                  </a:schemeClr>
                </a:solidFill>
              </a:defRPr>
            </a:lvl3pPr>
            <a:lvl4pPr>
              <a:defRPr sz="1400">
                <a:solidFill>
                  <a:schemeClr val="bg2">
                    <a:lumMod val="10000"/>
                  </a:schemeClr>
                </a:solidFill>
              </a:defRPr>
            </a:lvl4pPr>
            <a:lvl5pPr>
              <a:defRPr sz="1400">
                <a:solidFill>
                  <a:schemeClr val="bg2">
                    <a:lumMod val="1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82590-118A-4F46-A2EA-2A85E3977E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325042-9DF5-489C-8C75-269CB78BFE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289113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5BC58658-3B19-4392-86CF-413B73F9AC47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70056252-BDA9-4078-B722-E47B2AA6B48D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7EA4515-833B-4938-8C30-197D64265B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AFF271-B636-4DE2-9236-4EA0993E85E7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2183957368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252696"/>
            <a:ext cx="5255684" cy="4536502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AF42ED97-3E4E-4BC1-8ECB-A2A0127C645E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D2913E8F-8CA0-43F8-8D9F-68ABCAC1A9C3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93F9D904-A5FF-4EB2-A3B9-537C60F34F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5C0745-7780-433C-B0DC-3D466B033A5E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1174719058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8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3887084-8167-4369-A9F6-9AA63DDE7879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4083071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817416"/>
            <a:ext cx="3434412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96377D8-11A1-4D3D-AD83-D8D5D5580620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922399" y="1221773"/>
            <a:ext cx="343582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1" name="Right Triangle 30">
            <a:extLst>
              <a:ext uri="{FF2B5EF4-FFF2-40B4-BE49-F238E27FC236}">
                <a16:creationId xmlns:a16="http://schemas.microsoft.com/office/drawing/2014/main" id="{03110D43-839C-4E25-9F74-FFAB34AEE79C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84FA718C-1E93-4027-933B-CA1100DF9986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9695AE59-6D85-4383-B33E-BA39226272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5137927-1F81-449F-8693-4CFC350D0062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664296760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w/o Subtitles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6994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4F8EBC30-9D70-4F92-9D20-744472CB46E1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082635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6B97479F-3A11-442E-B166-BD37938ED39A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921963" y="1221776"/>
            <a:ext cx="3434412" cy="453650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73E57B9-5768-4513-BD8E-15615AB4AA0E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0C2508B-4949-4A81-8E32-4BEBFC8F88BF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57C1452-C9BF-4A6E-B214-B358065468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378A9E-6BD6-4B6B-A0FF-BCD882FA07EB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545783729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E06CB655-E941-4757-AC1C-778EFFE974B1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E19091B1-4699-4D49-A34C-B4B6BEA81288}"/>
              </a:ext>
            </a:extLst>
          </p:cNvPr>
          <p:cNvSpPr/>
          <p:nvPr/>
        </p:nvSpPr>
        <p:spPr>
          <a:xfrm>
            <a:off x="206198" y="155328"/>
            <a:ext cx="5907732" cy="6041009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b="1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7954021-5637-44B3-9C2F-8061C280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438AFF-F957-42C8-AA34-918B4169CD8C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1852917618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6F18EF0-0E19-4A89-AFC8-F1251653488F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197233" y="164294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13D011D-ACD1-4768-A5D9-AE99E0FE2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96532" y="139350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88230163-6943-4155-9891-6548BC22A4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96532" y="284748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0530D1A2-0FEB-4338-900F-0B169B3D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6532" y="4301464"/>
            <a:ext cx="1210982" cy="501369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866D9C54-CB09-46F0-9AEE-0DC9EE7928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1714" y="1197256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0">
            <a:extLst>
              <a:ext uri="{FF2B5EF4-FFF2-40B4-BE49-F238E27FC236}">
                <a16:creationId xmlns:a16="http://schemas.microsoft.com/office/drawing/2014/main" id="{56D2613B-9C34-4111-9E54-05DDA644376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1713" y="2664634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0">
            <a:extLst>
              <a:ext uri="{FF2B5EF4-FFF2-40B4-BE49-F238E27FC236}">
                <a16:creationId xmlns:a16="http://schemas.microsoft.com/office/drawing/2014/main" id="{1EF00B55-CD52-4514-8CDA-45BDD0C5637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9178" y="4126698"/>
            <a:ext cx="1344893" cy="850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DDBB002B-81D7-46F5-9E7F-B097495ECC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52448" y="2927631"/>
            <a:ext cx="3048000" cy="501369"/>
          </a:xfrm>
        </p:spPr>
        <p:txBody>
          <a:bodyPr anchor="ctr">
            <a:noAutofit/>
          </a:bodyPr>
          <a:lstStyle>
            <a:lvl1pPr marL="0" indent="0" algn="ctr">
              <a:buNone/>
              <a:defRPr sz="5400"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xxx</a:t>
            </a:r>
            <a:endParaRPr lang="en-GB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C678780-C8D4-4F03-90BA-6542C09EEF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F8535E-7608-42C1-8E4C-B61D8BA529CD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372693329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38334D-B49C-4535-B4A4-2CE6A827B7AD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852270-0650-455A-9FE5-FB8DE1F49B04}"/>
              </a:ext>
            </a:extLst>
          </p:cNvPr>
          <p:cNvSpPr/>
          <p:nvPr/>
        </p:nvSpPr>
        <p:spPr>
          <a:xfrm>
            <a:off x="6167727" y="91459"/>
            <a:ext cx="5898767" cy="60134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68D5B2-B0AF-4EA9-A3C9-0F1891A11A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878913-0C8B-49BF-8082-458BBA7C09BE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1710908065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ACCC873-6D14-4AD5-8EC1-EED3C8FD750A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778055-CC98-4AF4-978D-BDA630A427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04975" y="2017713"/>
            <a:ext cx="4086225" cy="509587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7E4F56F-4EFC-499F-993F-476AA7A9D7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04355" y="3044424"/>
            <a:ext cx="10487645" cy="2388187"/>
          </a:xfrm>
        </p:spPr>
        <p:txBody>
          <a:bodyPr/>
          <a:lstStyle>
            <a:lvl1pPr>
              <a:defRPr sz="3600"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B35875-F30D-4DA7-88F8-1A34314BA1C4}"/>
              </a:ext>
            </a:extLst>
          </p:cNvPr>
          <p:cNvCxnSpPr>
            <a:cxnSpLocks/>
          </p:cNvCxnSpPr>
          <p:nvPr/>
        </p:nvCxnSpPr>
        <p:spPr>
          <a:xfrm>
            <a:off x="1704355" y="2678272"/>
            <a:ext cx="10487645" cy="0"/>
          </a:xfrm>
          <a:prstGeom prst="line">
            <a:avLst/>
          </a:prstGeom>
          <a:ln w="12700"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E35CD5E-A07E-4CC6-B37E-41A3C07DA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577287-5B6C-4D25-A300-9ED4A160DFD4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549668396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6B6788F0-5A63-4A9E-A505-ADA444F4970B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1877002C-5C4C-45E7-BF8D-B220959822AA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C6EAD9-47D1-4110-B679-6DCC2E62D7DD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0270" y="2827513"/>
            <a:ext cx="9579824" cy="2793358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A11B0ADD-BB6A-4AE8-B799-F63302B79125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2A99F896-B82C-4FF2-A5FB-D4417AF57055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A05358-6A4C-4039-9B32-2ED1E3AAC2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10270" y="1130400"/>
            <a:ext cx="1440000" cy="14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30B86DA-FAE9-4B11-AC31-22FA0A8F2A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85C76A-EA97-462C-8A53-403071FCD2DB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2999623748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6B6788F0-5A63-4A9E-A505-ADA444F4970B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1877002C-5C4C-45E7-BF8D-B220959822AA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998F0F-A55A-4D68-A413-23953B7D354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0E64B46-BB57-4B10-879F-41BBF90CED4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E0F46A71-804D-4EA1-A056-E8D13CBFC4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51577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F081B265-0191-4473-9920-3B30DA23BE6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51575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7" name="Text Placeholder 32">
            <a:extLst>
              <a:ext uri="{FF2B5EF4-FFF2-40B4-BE49-F238E27FC236}">
                <a16:creationId xmlns:a16="http://schemas.microsoft.com/office/drawing/2014/main" id="{82F2976D-639D-4FF2-B6C9-37D86DB9E6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1576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35BB492-35D7-4F61-82EF-A53571122A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 Placeholder 32">
            <a:extLst>
              <a:ext uri="{FF2B5EF4-FFF2-40B4-BE49-F238E27FC236}">
                <a16:creationId xmlns:a16="http://schemas.microsoft.com/office/drawing/2014/main" id="{DD15BE3E-A3CF-4606-8893-1DEB4ADE6DC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64766" y="1393015"/>
            <a:ext cx="3090647" cy="501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134911F6-D06E-4E52-A106-CF67D47CC9D8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9" name="Right Triangle 18">
            <a:extLst>
              <a:ext uri="{FF2B5EF4-FFF2-40B4-BE49-F238E27FC236}">
                <a16:creationId xmlns:a16="http://schemas.microsoft.com/office/drawing/2014/main" id="{AEA52F43-5CFD-4111-8771-5633D6EAD61F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1070F9-7A0D-45BD-94FA-7C5C18F65AB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443504" y="4532651"/>
            <a:ext cx="929337" cy="995874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47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731D71-DE6B-45B5-8432-E9FFBFF3C9B1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562089" y="4532203"/>
            <a:ext cx="1368000" cy="1368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C487627-BBC1-45E4-AE45-5A9623663D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90089" y="1130400"/>
            <a:ext cx="3240000" cy="3240000"/>
          </a:xfrm>
          <a:prstGeom prst="rect">
            <a:avLst/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80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7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100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82C5737D-19B3-4B21-B189-7FF61CB6E5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63710" y="1130400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11C51D41-ED65-4F86-8322-083073E065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63708" y="2499574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32">
            <a:extLst>
              <a:ext uri="{FF2B5EF4-FFF2-40B4-BE49-F238E27FC236}">
                <a16:creationId xmlns:a16="http://schemas.microsoft.com/office/drawing/2014/main" id="{00A5366D-F7F6-4221-BB8F-EB94781C12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63709" y="3868749"/>
            <a:ext cx="3090647" cy="501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7D37E4D6-B078-46EC-B6C9-42AED89BC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6FD6E48-EC7A-4698-BD4B-917A06550953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77920163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boxes w/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693718-FD5D-47E9-A3F9-4F812AA911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8118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1BB220-62BE-485D-B9C0-74ABC489BF8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8078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E45813-17F8-40B0-8569-68A3052D1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184590BB-CECE-4FFD-BBEA-8EC01EC580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88D2B0E-2C8D-437C-BD4D-EB5F68AAF1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247467" y="1848340"/>
            <a:ext cx="5255684" cy="394086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40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F6F086E-CFDF-42C1-A2DF-28CBBCC4ABC5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247429" y="1252695"/>
            <a:ext cx="5257841" cy="510212"/>
          </a:xfrm>
        </p:spPr>
        <p:txBody>
          <a:bodyPr anchor="ctr">
            <a:normAutofit/>
          </a:bodyPr>
          <a:lstStyle>
            <a:lvl1pPr marL="0" indent="0">
              <a:buNone/>
              <a:defRPr sz="1800" b="1">
                <a:solidFill>
                  <a:srgbClr val="041E4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BE33554-6F61-41A8-9F59-437E0C24E6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19739970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F0D977F-DC75-43F9-9404-EFF09846A1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</p:spTree>
    <p:extLst>
      <p:ext uri="{BB962C8B-B14F-4D97-AF65-F5344CB8AC3E}">
        <p14:creationId xmlns:p14="http://schemas.microsoft.com/office/powerpoint/2010/main" val="2097581574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/o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01AB38-4518-4AA9-B919-7E1B4EF4BA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7BD2650-C778-479F-8EDF-1EE2ED47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CAB8F86-EC9B-404F-906A-F363789D30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647F76-55E9-4EB5-847A-9B6A576645CB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4167745870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ou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0DAFD05-6982-45E2-89E3-A1FACAD9F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6B6788F0-5A63-4A9E-A505-ADA444F4970B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1877002C-5C4C-45E7-BF8D-B220959822AA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08D693D0-64AE-4A1A-8008-34912D6CBCA9}"/>
              </a:ext>
            </a:extLst>
          </p:cNvPr>
          <p:cNvSpPr/>
          <p:nvPr/>
        </p:nvSpPr>
        <p:spPr>
          <a:xfrm rot="10800000">
            <a:off x="11248800" y="1"/>
            <a:ext cx="943200" cy="941695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7DE6B21D-11CB-41B5-A468-D8421BD0D322}"/>
              </a:ext>
            </a:extLst>
          </p:cNvPr>
          <p:cNvSpPr/>
          <p:nvPr/>
        </p:nvSpPr>
        <p:spPr>
          <a:xfrm rot="10800000">
            <a:off x="11061191" y="0"/>
            <a:ext cx="1130809" cy="1130400"/>
          </a:xfrm>
          <a:prstGeom prst="rtTriangle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D9D9495-65E4-4897-A787-550891F15F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b="1"/>
              <a:t>Delivery Strategy</a:t>
            </a:r>
            <a:endParaRPr lang="en-GB" sz="1400" b="1" i="1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82FF9D-A3F4-46E2-B562-69E654F79A0F}"/>
              </a:ext>
            </a:extLst>
          </p:cNvPr>
          <p:cNvSpPr txBox="1"/>
          <p:nvPr userDrawn="1"/>
        </p:nvSpPr>
        <p:spPr>
          <a:xfrm>
            <a:off x="4552950" y="118941"/>
            <a:ext cx="30861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>
                <a:solidFill>
                  <a:schemeClr val="bg2">
                    <a:lumMod val="25000"/>
                  </a:schemeClr>
                </a:solidFill>
              </a:rPr>
              <a:t>- Commercially Sensitive - </a:t>
            </a:r>
          </a:p>
        </p:txBody>
      </p:sp>
    </p:spTree>
    <p:extLst>
      <p:ext uri="{BB962C8B-B14F-4D97-AF65-F5344CB8AC3E}">
        <p14:creationId xmlns:p14="http://schemas.microsoft.com/office/powerpoint/2010/main" val="3482681222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771E26-F642-4136-9E4B-A6182E117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042AD48-F543-45DA-A103-04B3C0DDEF62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3D4CB8E-23E5-4F43-9950-CB57C45B8A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7427" y="115022"/>
            <a:ext cx="10515600" cy="73544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1FA0265-FBFA-474D-8EE2-3E1DB02F0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05002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D4AC7A-2C25-489A-A250-AA1F86809785}"/>
              </a:ext>
            </a:extLst>
          </p:cNvPr>
          <p:cNvSpPr/>
          <p:nvPr/>
        </p:nvSpPr>
        <p:spPr>
          <a:xfrm>
            <a:off x="204613" y="6359659"/>
            <a:ext cx="10775169" cy="321125"/>
          </a:xfrm>
          <a:prstGeom prst="rect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C08958-870B-4E65-B32D-F274CCFBB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364"/>
            <a:ext cx="10515600" cy="735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D40D6-D6CF-4338-B18C-CBFA3AA7C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96756"/>
            <a:ext cx="10515600" cy="4388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26" name="Picture 2" descr="BEIS launch consultation into The Future of Heat in Domestic Buildings">
            <a:extLst>
              <a:ext uri="{FF2B5EF4-FFF2-40B4-BE49-F238E27FC236}">
                <a16:creationId xmlns:a16="http://schemas.microsoft.com/office/drawing/2014/main" id="{1D9455F7-7FAE-4C8F-8049-BB97C2D20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5205" y="6167684"/>
            <a:ext cx="1130808" cy="64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1E68A5-B93E-46DB-BE6C-2F9902789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6F9E18F-B8EF-4B0F-894D-FBBC740B270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C91A0E4-0AF8-4322-A762-6F3D56184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5863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820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41E4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D4AC7A-2C25-489A-A250-AA1F86809785}"/>
              </a:ext>
            </a:extLst>
          </p:cNvPr>
          <p:cNvSpPr/>
          <p:nvPr/>
        </p:nvSpPr>
        <p:spPr>
          <a:xfrm>
            <a:off x="204613" y="6359659"/>
            <a:ext cx="10775169" cy="321125"/>
          </a:xfrm>
          <a:prstGeom prst="rect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C08958-870B-4E65-B32D-F274CCFBB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364"/>
            <a:ext cx="10515600" cy="735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D40D6-D6CF-4338-B18C-CBFA3AA7C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96756"/>
            <a:ext cx="10515600" cy="4388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26" name="Picture 2" descr="BEIS launch consultation into The Future of Heat in Domestic Buildings">
            <a:extLst>
              <a:ext uri="{FF2B5EF4-FFF2-40B4-BE49-F238E27FC236}">
                <a16:creationId xmlns:a16="http://schemas.microsoft.com/office/drawing/2014/main" id="{1D9455F7-7FAE-4C8F-8049-BB97C2D20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5205" y="6167684"/>
            <a:ext cx="1130808" cy="64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1E68A5-B93E-46DB-BE6C-2F9902789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4625830-CEB7-410B-9977-20359A2CB76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C91A0E4-0AF8-4322-A762-6F3D56184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684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41E4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D4AC7A-2C25-489A-A250-AA1F86809785}"/>
              </a:ext>
            </a:extLst>
          </p:cNvPr>
          <p:cNvSpPr/>
          <p:nvPr/>
        </p:nvSpPr>
        <p:spPr>
          <a:xfrm>
            <a:off x="204613" y="6359659"/>
            <a:ext cx="10775169" cy="321125"/>
          </a:xfrm>
          <a:prstGeom prst="rect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C08958-870B-4E65-B32D-F274CCFBB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364"/>
            <a:ext cx="10515600" cy="735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D40D6-D6CF-4338-B18C-CBFA3AA7C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96756"/>
            <a:ext cx="10515600" cy="4388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26" name="Picture 2" descr="BEIS launch consultation into The Future of Heat in Domestic Buildings">
            <a:extLst>
              <a:ext uri="{FF2B5EF4-FFF2-40B4-BE49-F238E27FC236}">
                <a16:creationId xmlns:a16="http://schemas.microsoft.com/office/drawing/2014/main" id="{1D9455F7-7FAE-4C8F-8049-BB97C2D20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5205" y="6167684"/>
            <a:ext cx="1130808" cy="64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1E68A5-B93E-46DB-BE6C-2F9902789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D5493A9-8B47-4420-BBAA-8351DA4017D7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C91A0E4-0AF8-4322-A762-6F3D561840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42400" y="634651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5151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5" r:id="rId21"/>
    <p:sldLayoutId id="2147483747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41E4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3D4AC7A-2C25-489A-A250-AA1F86809785}"/>
              </a:ext>
            </a:extLst>
          </p:cNvPr>
          <p:cNvSpPr/>
          <p:nvPr/>
        </p:nvSpPr>
        <p:spPr>
          <a:xfrm>
            <a:off x="204613" y="6359659"/>
            <a:ext cx="10775169" cy="321125"/>
          </a:xfrm>
          <a:prstGeom prst="rect">
            <a:avLst/>
          </a:prstGeom>
          <a:solidFill>
            <a:srgbClr val="0D59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C08958-870B-4E65-B32D-F274CCFBB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7364"/>
            <a:ext cx="10515600" cy="7354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3D40D6-D6CF-4338-B18C-CBFA3AA7CB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96756"/>
            <a:ext cx="10515600" cy="43885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26" name="Picture 2" descr="BEIS launch consultation into The Future of Heat in Domestic Buildings">
            <a:extLst>
              <a:ext uri="{FF2B5EF4-FFF2-40B4-BE49-F238E27FC236}">
                <a16:creationId xmlns:a16="http://schemas.microsoft.com/office/drawing/2014/main" id="{1D9455F7-7FAE-4C8F-8049-BB97C2D20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5205" y="6167684"/>
            <a:ext cx="1130808" cy="64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31E68A5-B93E-46DB-BE6C-2F99027896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8268" y="6331900"/>
            <a:ext cx="50182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A030DFD-335B-4480-BEA0-C8D897832E8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2032BEB-4630-427D-B2DE-6F2F81B841E5}"/>
              </a:ext>
            </a:extLst>
          </p:cNvPr>
          <p:cNvSpPr txBox="1">
            <a:spLocks/>
          </p:cNvSpPr>
          <p:nvPr userDrawn="1"/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>
                <a:solidFill>
                  <a:schemeClr val="bg1">
                    <a:lumMod val="50000"/>
                  </a:schemeClr>
                </a:solidFill>
              </a:rPr>
              <a:t>For Discussion </a:t>
            </a:r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01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818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41E4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C8BD9A7-63F1-4B9D-BEFD-10C72C7908F1}"/>
              </a:ext>
            </a:extLst>
          </p:cNvPr>
          <p:cNvSpPr txBox="1"/>
          <p:nvPr/>
        </p:nvSpPr>
        <p:spPr>
          <a:xfrm>
            <a:off x="227013" y="561637"/>
            <a:ext cx="11701462" cy="1234697"/>
          </a:xfrm>
          <a:prstGeom prst="rect">
            <a:avLst/>
          </a:prstGeom>
          <a:solidFill>
            <a:srgbClr val="CFDEEA"/>
          </a:solidFill>
          <a:ln w="31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tors will: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 an </a:t>
            </a:r>
            <a:r>
              <a:rPr lang="en-GB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-depth understanding of the barriers</a:t>
            </a: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SME is facing to achieve their growth potential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d trust and help participants </a:t>
            </a:r>
            <a:r>
              <a:rPr lang="en-GB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rove their leadership skills and drive change within their business</a:t>
            </a: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ide the participant to </a:t>
            </a:r>
            <a:r>
              <a:rPr lang="en-GB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lise their growth potential </a:t>
            </a: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 exploring all the avenues open to them; and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lp participants to </a:t>
            </a:r>
            <a:r>
              <a:rPr lang="en-GB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robust, actionable growth plan </a:t>
            </a:r>
            <a:r>
              <a:rPr lang="en-GB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 provide advice on implementation.</a:t>
            </a:r>
            <a:endParaRPr lang="en-GB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C7F1A93-4CC7-4923-9A2B-947B15B7B4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0818997"/>
              </p:ext>
            </p:extLst>
          </p:nvPr>
        </p:nvGraphicFramePr>
        <p:xfrm>
          <a:off x="227013" y="1856284"/>
          <a:ext cx="11699875" cy="4521983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434466">
                  <a:extLst>
                    <a:ext uri="{9D8B030D-6E8A-4147-A177-3AD203B41FA5}">
                      <a16:colId xmlns:a16="http://schemas.microsoft.com/office/drawing/2014/main" val="804433019"/>
                    </a:ext>
                  </a:extLst>
                </a:gridCol>
                <a:gridCol w="6712268">
                  <a:extLst>
                    <a:ext uri="{9D8B030D-6E8A-4147-A177-3AD203B41FA5}">
                      <a16:colId xmlns:a16="http://schemas.microsoft.com/office/drawing/2014/main" val="488739820"/>
                    </a:ext>
                  </a:extLst>
                </a:gridCol>
                <a:gridCol w="3553141">
                  <a:extLst>
                    <a:ext uri="{9D8B030D-6E8A-4147-A177-3AD203B41FA5}">
                      <a16:colId xmlns:a16="http://schemas.microsoft.com/office/drawing/2014/main" val="3405327643"/>
                    </a:ext>
                  </a:extLst>
                </a:gridCol>
              </a:tblGrid>
              <a:tr h="2462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b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tributes</a:t>
                      </a:r>
                      <a:endParaRPr lang="en-GB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sential</a:t>
                      </a:r>
                      <a:endParaRPr lang="en-GB" sz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sirable</a:t>
                      </a:r>
                      <a:endParaRPr lang="en-GB" sz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/>
                </a:tc>
                <a:extLst>
                  <a:ext uri="{0D108BD9-81ED-4DB2-BD59-A6C34878D82A}">
                    <a16:rowId xmlns:a16="http://schemas.microsoft.com/office/drawing/2014/main" val="1468583141"/>
                  </a:ext>
                </a:extLst>
              </a:tr>
              <a:tr h="130709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nowledge &amp; experience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342000" indent="-3420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ve years minimum of recent experience leading a SME at a senior level, or equivalent experience working closely with SME leaders on growth, productivity and innovation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000" indent="-3420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erience of bottom line responsibility for growth within SMEs</a:t>
                      </a: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r a proven track record of managing the range of business issues associated with productivity and growth and </a:t>
                      </a:r>
                      <a:r>
                        <a:rPr lang="en-GB" sz="11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rect experience of leading the implementation of change.</a:t>
                      </a:r>
                    </a:p>
                    <a:p>
                      <a:pPr marL="342000" indent="-3420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perience of building, leading and delivering through a team to improve company performance and productivity</a:t>
                      </a:r>
                    </a:p>
                    <a:p>
                      <a:pPr marL="342000" marR="0" lvl="0" indent="-34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oad experience of strategic planning and of innovating a company’s business model and/or operations</a:t>
                      </a:r>
                    </a:p>
                    <a:p>
                      <a:pPr marL="342000" marR="0" lvl="0" indent="-342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ecific experience of developing a </a:t>
                      </a:r>
                      <a:r>
                        <a:rPr lang="en-GB" sz="11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siness growth plan </a:t>
                      </a: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 equivalent business planning activity, alongside </a:t>
                      </a:r>
                      <a:r>
                        <a:rPr lang="en-GB" sz="11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miliarity with financial statements </a:t>
                      </a:r>
                      <a:r>
                        <a:rPr lang="en-GB" sz="11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 cash flow forecasting</a:t>
                      </a: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xperience of mentoring SME senior leaders</a:t>
                      </a:r>
                    </a:p>
                  </a:txBody>
                  <a:tcPr marL="43989" marR="43989" marT="0" marB="0" anchor="ctr"/>
                </a:tc>
                <a:extLst>
                  <a:ext uri="{0D108BD9-81ED-4DB2-BD59-A6C34878D82A}">
                    <a16:rowId xmlns:a16="http://schemas.microsoft.com/office/drawing/2014/main" val="262004244"/>
                  </a:ext>
                </a:extLst>
              </a:tr>
              <a:tr h="8169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ob related skills, abilities &amp; competencies </a:t>
                      </a: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 level 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adership and management skills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 level 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 skills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th oral and written</a:t>
                      </a:r>
                      <a:endParaRPr lang="en-GB" sz="1100" b="1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natural </a:t>
                      </a:r>
                      <a:r>
                        <a:rPr lang="en-GB" sz="11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ercial acumen </a:t>
                      </a:r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ed by strong interrogative, analytical and diagnostic skills </a:t>
                      </a: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actical experience and skills in specific area such as digital transformation, social media, Internationalisation or Human Resource Management</a:t>
                      </a:r>
                    </a:p>
                  </a:txBody>
                  <a:tcPr marL="43989" marR="43989" marT="0" marB="0" anchor="ctr"/>
                </a:tc>
                <a:extLst>
                  <a:ext uri="{0D108BD9-81ED-4DB2-BD59-A6C34878D82A}">
                    <a16:rowId xmlns:a16="http://schemas.microsoft.com/office/drawing/2014/main" val="3746940624"/>
                  </a:ext>
                </a:extLst>
              </a:tr>
              <a:tr h="81693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ducation/ qualification / training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/A</a:t>
                      </a: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aken part in a Management and/or Leadership Programm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mbership of an appropriate professional body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gree level or equivalent professional qualifications or professional experience 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 anchor="ctr"/>
                </a:tc>
                <a:extLst>
                  <a:ext uri="{0D108BD9-81ED-4DB2-BD59-A6C34878D82A}">
                    <a16:rowId xmlns:a16="http://schemas.microsoft.com/office/drawing/2014/main" val="1494088262"/>
                  </a:ext>
                </a:extLst>
              </a:tr>
              <a:tr h="9442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personal skills 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 anchor="ctr"/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monstrate </a:t>
                      </a:r>
                      <a:r>
                        <a:rPr lang="en-GB" sz="1100" b="1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havioural attributes </a:t>
                      </a: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ch as empathy, generosity, affiliation, achievement.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pable of operating comfortably at MD/Ch Exec/Board level </a:t>
                      </a:r>
                    </a:p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trepreneurial mindset</a:t>
                      </a:r>
                    </a:p>
                  </a:txBody>
                  <a:tcPr marL="43989" marR="43989" marT="0" marB="0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N/A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3989" marR="43989" marT="0" marB="0" anchor="ctr"/>
                </a:tc>
                <a:extLst>
                  <a:ext uri="{0D108BD9-81ED-4DB2-BD59-A6C34878D82A}">
                    <a16:rowId xmlns:a16="http://schemas.microsoft.com/office/drawing/2014/main" val="2191417200"/>
                  </a:ext>
                </a:extLst>
              </a:tr>
            </a:tbl>
          </a:graphicData>
        </a:graphic>
      </p:graphicFrame>
      <p:sp>
        <p:nvSpPr>
          <p:cNvPr id="8" name="Title 21">
            <a:extLst>
              <a:ext uri="{FF2B5EF4-FFF2-40B4-BE49-F238E27FC236}">
                <a16:creationId xmlns:a16="http://schemas.microsoft.com/office/drawing/2014/main" id="{F0B36466-5815-4541-92AD-6A6BC705DDC2}"/>
              </a:ext>
            </a:extLst>
          </p:cNvPr>
          <p:cNvSpPr txBox="1">
            <a:spLocks/>
          </p:cNvSpPr>
          <p:nvPr/>
        </p:nvSpPr>
        <p:spPr>
          <a:xfrm>
            <a:off x="165554" y="-1"/>
            <a:ext cx="11581618" cy="7286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41E4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en-GB" sz="2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lp to Grow </a:t>
            </a:r>
            <a:r>
              <a:rPr lang="en-GB" sz="220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ment: Mentor </a:t>
            </a:r>
            <a:r>
              <a:rPr lang="en-GB" sz="22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 Specificatio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EC21A19-37B6-4039-BADF-6C4A2DC725A0}"/>
              </a:ext>
            </a:extLst>
          </p:cNvPr>
          <p:cNvSpPr txBox="1">
            <a:spLocks/>
          </p:cNvSpPr>
          <p:nvPr/>
        </p:nvSpPr>
        <p:spPr>
          <a:xfrm>
            <a:off x="58148" y="6318725"/>
            <a:ext cx="501821" cy="365125"/>
          </a:xfrm>
          <a:prstGeom prst="rect">
            <a:avLst/>
          </a:prstGeom>
        </p:spPr>
        <p:txBody>
          <a:bodyPr anchor="ctr"/>
          <a:lstStyle>
            <a:defPPr>
              <a:defRPr lang="en-GB"/>
            </a:defPPr>
            <a:lvl1pPr marL="0" algn="ctr" defTabSz="914400" rtl="0" eaLnBrk="1" latinLnBrk="0" hangingPunct="1"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F9E18F-B8EF-4B0F-894D-FBBC740B2701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9EDF0B5-7274-4DE6-8176-4445270CEA72}"/>
              </a:ext>
            </a:extLst>
          </p:cNvPr>
          <p:cNvSpPr txBox="1"/>
          <p:nvPr/>
        </p:nvSpPr>
        <p:spPr>
          <a:xfrm>
            <a:off x="4370070" y="6353093"/>
            <a:ext cx="3451860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86">
                <a:solidFill>
                  <a:schemeClr val="bg1"/>
                </a:solidFill>
              </a:rPr>
              <a:t>NOT GOVERNMENT POLICY</a:t>
            </a:r>
          </a:p>
        </p:txBody>
      </p:sp>
    </p:spTree>
    <p:extLst>
      <p:ext uri="{BB962C8B-B14F-4D97-AF65-F5344CB8AC3E}">
        <p14:creationId xmlns:p14="http://schemas.microsoft.com/office/powerpoint/2010/main" val="249964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72858/71.53472/271.5024/274.73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72858/71.53472/271.5024/274.732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72858/71.53472/271.5024/274.732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72858/71.53472/271.5024/274.732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9.3028/369.3848/73.17614/78.4152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97.597/369.3848/123.634/115.6044"/>
</p:tagLst>
</file>

<file path=ppt/theme/theme1.xml><?xml version="1.0" encoding="utf-8"?>
<a:theme xmlns:a="http://schemas.openxmlformats.org/drawingml/2006/main" name="I&amp;D Directorate Template">
  <a:themeElements>
    <a:clrScheme name="Custom 1">
      <a:dk1>
        <a:srgbClr val="000000"/>
      </a:dk1>
      <a:lt1>
        <a:sysClr val="window" lastClr="FFFFFF"/>
      </a:lt1>
      <a:dk2>
        <a:srgbClr val="55565A"/>
      </a:dk2>
      <a:lt2>
        <a:srgbClr val="E7E6E6"/>
      </a:lt2>
      <a:accent1>
        <a:srgbClr val="0D5994"/>
      </a:accent1>
      <a:accent2>
        <a:srgbClr val="2B3A67"/>
      </a:accent2>
      <a:accent3>
        <a:srgbClr val="FED766"/>
      </a:accent3>
      <a:accent4>
        <a:srgbClr val="F03A47"/>
      </a:accent4>
      <a:accent5>
        <a:srgbClr val="DBE4EE"/>
      </a:accent5>
      <a:accent6>
        <a:srgbClr val="F6F4F3"/>
      </a:accent6>
      <a:hlink>
        <a:srgbClr val="AA1580"/>
      </a:hlink>
      <a:folHlink>
        <a:srgbClr val="BCCF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&amp;D Directorate Template" id="{CC871590-5741-4BD5-8ADF-AC622AFAF860}" vid="{B03C2239-44F9-4913-BF93-ADAF307C8ED4}"/>
    </a:ext>
  </a:extLst>
</a:theme>
</file>

<file path=ppt/theme/theme2.xml><?xml version="1.0" encoding="utf-8"?>
<a:theme xmlns:a="http://schemas.openxmlformats.org/drawingml/2006/main" name="Implementation and Delivery">
  <a:themeElements>
    <a:clrScheme name="Custom 1">
      <a:dk1>
        <a:srgbClr val="000000"/>
      </a:dk1>
      <a:lt1>
        <a:sysClr val="window" lastClr="FFFFFF"/>
      </a:lt1>
      <a:dk2>
        <a:srgbClr val="55565A"/>
      </a:dk2>
      <a:lt2>
        <a:srgbClr val="E7E6E6"/>
      </a:lt2>
      <a:accent1>
        <a:srgbClr val="0D5994"/>
      </a:accent1>
      <a:accent2>
        <a:srgbClr val="2B3A67"/>
      </a:accent2>
      <a:accent3>
        <a:srgbClr val="FED766"/>
      </a:accent3>
      <a:accent4>
        <a:srgbClr val="F03A47"/>
      </a:accent4>
      <a:accent5>
        <a:srgbClr val="DBE4EE"/>
      </a:accent5>
      <a:accent6>
        <a:srgbClr val="F6F4F3"/>
      </a:accent6>
      <a:hlink>
        <a:srgbClr val="AA1580"/>
      </a:hlink>
      <a:folHlink>
        <a:srgbClr val="BCCF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plementation and Delivery" id="{3FFBC5D6-EE77-4FF1-B622-32E54BA9310D}" vid="{E38154EB-EE16-46FB-AE8B-15FE80968A77}"/>
    </a:ext>
  </a:extLst>
</a:theme>
</file>

<file path=ppt/theme/theme3.xml><?xml version="1.0" encoding="utf-8"?>
<a:theme xmlns:a="http://schemas.openxmlformats.org/drawingml/2006/main" name="1_Implementation and Delivery">
  <a:themeElements>
    <a:clrScheme name="Custom 1">
      <a:dk1>
        <a:srgbClr val="000000"/>
      </a:dk1>
      <a:lt1>
        <a:sysClr val="window" lastClr="FFFFFF"/>
      </a:lt1>
      <a:dk2>
        <a:srgbClr val="55565A"/>
      </a:dk2>
      <a:lt2>
        <a:srgbClr val="E7E6E6"/>
      </a:lt2>
      <a:accent1>
        <a:srgbClr val="0D5994"/>
      </a:accent1>
      <a:accent2>
        <a:srgbClr val="2B3A67"/>
      </a:accent2>
      <a:accent3>
        <a:srgbClr val="FED766"/>
      </a:accent3>
      <a:accent4>
        <a:srgbClr val="F03A47"/>
      </a:accent4>
      <a:accent5>
        <a:srgbClr val="DBE4EE"/>
      </a:accent5>
      <a:accent6>
        <a:srgbClr val="F6F4F3"/>
      </a:accent6>
      <a:hlink>
        <a:srgbClr val="AA1580"/>
      </a:hlink>
      <a:folHlink>
        <a:srgbClr val="BCCF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mplementation and Delivery" id="{3FFBC5D6-EE77-4FF1-B622-32E54BA9310D}" vid="{E38154EB-EE16-46FB-AE8B-15FE80968A77}"/>
    </a:ext>
  </a:extLst>
</a:theme>
</file>

<file path=ppt/theme/theme4.xml><?xml version="1.0" encoding="utf-8"?>
<a:theme xmlns:a="http://schemas.openxmlformats.org/drawingml/2006/main" name="4_Strategy">
  <a:themeElements>
    <a:clrScheme name="Custom 1">
      <a:dk1>
        <a:srgbClr val="000000"/>
      </a:dk1>
      <a:lt1>
        <a:sysClr val="window" lastClr="FFFFFF"/>
      </a:lt1>
      <a:dk2>
        <a:srgbClr val="55565A"/>
      </a:dk2>
      <a:lt2>
        <a:srgbClr val="E7E6E6"/>
      </a:lt2>
      <a:accent1>
        <a:srgbClr val="0D5994"/>
      </a:accent1>
      <a:accent2>
        <a:srgbClr val="2B3A67"/>
      </a:accent2>
      <a:accent3>
        <a:srgbClr val="FED766"/>
      </a:accent3>
      <a:accent4>
        <a:srgbClr val="F03A47"/>
      </a:accent4>
      <a:accent5>
        <a:srgbClr val="DBE4EE"/>
      </a:accent5>
      <a:accent6>
        <a:srgbClr val="F6F4F3"/>
      </a:accent6>
      <a:hlink>
        <a:srgbClr val="AA1580"/>
      </a:hlink>
      <a:folHlink>
        <a:srgbClr val="BCCF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rategy" id="{6310A894-B0CF-4359-B990-249FCC872BED}" vid="{829EFBFF-F7EB-4CDE-9317-66FDDC53F6F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28f80bf-2fee-44f1-a5bd-d27b7f33eb0b">
      <UserInfo>
        <DisplayName>Mitchell, Jasmine (Implementation &amp; Delivery)</DisplayName>
        <AccountId>120</AccountId>
        <AccountType/>
      </UserInfo>
      <UserInfo>
        <DisplayName>SharingLinks.37ac95c9-2ad8-4e58-bad3-06f0c1e60643.OrganizationEdit.73a57e4b-6b1b-4e91-80dd-92e99206e1e1</DisplayName>
        <AccountId>36</AccountId>
        <AccountType/>
      </UserInfo>
      <UserInfo>
        <DisplayName>SharingLinks.3f2623ba-123f-486b-97b3-4170fc89cf42.OrganizationEdit.b2c96387-1026-4d14-9eb8-6986f24c0483</DisplayName>
        <AccountId>40</AccountId>
        <AccountType/>
      </UserInfo>
      <UserInfo>
        <DisplayName>Warner, Haile (BEIS)</DisplayName>
        <AccountId>26</AccountId>
        <AccountType/>
      </UserInfo>
      <UserInfo>
        <DisplayName>SharingLinks.07b45204-f95f-41ce-a45a-fb525daaf30b.Flexible.f983f60b-957d-40af-b363-3e43a3e39b24</DisplayName>
        <AccountId>126</AccountId>
        <AccountType/>
      </UserInfo>
      <UserInfo>
        <DisplayName>Maan, Anisha (Policy Delivery &amp; Private Office)</DisplayName>
        <AccountId>157</AccountId>
        <AccountType/>
      </UserInfo>
      <UserInfo>
        <DisplayName>Morley, Luke (BEIS)</DisplayName>
        <AccountId>168</AccountId>
        <AccountType/>
      </UserInfo>
      <UserInfo>
        <DisplayName>SharingLinks.5229ffef-5aa5-4f46-b36b-f32327834be9.OrganizationEdit.6af5fd36-6134-4d8b-b39d-ec2bca19c691</DisplayName>
        <AccountId>85</AccountId>
        <AccountType/>
      </UserInfo>
      <UserInfo>
        <DisplayName>Hutton, Henry (BEIS)</DisplayName>
        <AccountId>27</AccountId>
        <AccountType/>
      </UserInfo>
      <UserInfo>
        <DisplayName>Hulme, Simon (Implementation &amp; Delivery)</DisplayName>
        <AccountId>446</AccountId>
        <AccountType/>
      </UserInfo>
      <UserInfo>
        <DisplayName>Lowen, Gina (Implementation &amp; Delivery)</DisplayName>
        <AccountId>447</AccountId>
        <AccountType/>
      </UserInfo>
      <UserInfo>
        <DisplayName>Callanan, Alice (BEIS)</DisplayName>
        <AccountId>304</AccountId>
        <AccountType/>
      </UserInfo>
      <UserInfo>
        <DisplayName>Okonweze, Austen (SIG)</DisplayName>
        <AccountId>129</AccountId>
        <AccountType/>
      </UserInfo>
      <UserInfo>
        <DisplayName>Scully, Minister (Private Office)</DisplayName>
        <AccountId>697</AccountId>
        <AccountType/>
      </UserInfo>
      <UserInfo>
        <DisplayName>Benbow-Wyke, Oliver (Private Office)</DisplayName>
        <AccountId>895</AccountId>
        <AccountType/>
      </UserInfo>
      <UserInfo>
        <DisplayName>Child, Tom (SIG)</DisplayName>
        <AccountId>30</AccountId>
        <AccountType/>
      </UserInfo>
      <UserInfo>
        <DisplayName>Sharp, Kevin (Business Growth)</DisplayName>
        <AccountId>18</AccountId>
        <AccountType/>
      </UserInfo>
      <UserInfo>
        <DisplayName>Hayer, Poonam (BEIS)</DisplayName>
        <AccountId>20</AccountId>
        <AccountType/>
      </UserInfo>
      <UserInfo>
        <DisplayName>Inge, Laura (BEIS)</DisplayName>
        <AccountId>47</AccountId>
        <AccountType/>
      </UserInfo>
      <UserInfo>
        <DisplayName>Porter, Michael (Business Growth)</DisplayName>
        <AccountId>746</AccountId>
        <AccountType/>
      </UserInfo>
      <UserInfo>
        <DisplayName>Wilson, Shani (BEIS)</DisplayName>
        <AccountId>249</AccountId>
        <AccountType/>
      </UserInfo>
      <UserInfo>
        <DisplayName>Frisby, James (Implementation &amp; Delivery)</DisplayName>
        <AccountId>496</AccountId>
        <AccountType/>
      </UserInfo>
      <UserInfo>
        <DisplayName>Hooker, Emily (BEIS)</DisplayName>
        <AccountId>182</AccountId>
        <AccountType/>
      </UserInfo>
      <UserInfo>
        <DisplayName>Cannizzaro, Angelina (Business Growth)</DisplayName>
        <AccountId>93</AccountId>
        <AccountType/>
      </UserInfo>
      <UserInfo>
        <DisplayName>Leedale, Joshua (Business Growth)</DisplayName>
        <AccountId>29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947C9AB8DCA642A3249ECD5F4CED96" ma:contentTypeVersion="12" ma:contentTypeDescription="Create a new document." ma:contentTypeScope="" ma:versionID="38fa442a7681e1c82b842c3fbe061542">
  <xsd:schema xmlns:xsd="http://www.w3.org/2001/XMLSchema" xmlns:xs="http://www.w3.org/2001/XMLSchema" xmlns:p="http://schemas.microsoft.com/office/2006/metadata/properties" xmlns:ns2="08e079dd-9e28-44c8-a50b-4d24c15925ca" xmlns:ns3="228f80bf-2fee-44f1-a5bd-d27b7f33eb0b" targetNamespace="http://schemas.microsoft.com/office/2006/metadata/properties" ma:root="true" ma:fieldsID="c3a38e9f194deaceb5f7cd00e715b3d5" ns2:_="" ns3:_="">
    <xsd:import namespace="08e079dd-9e28-44c8-a50b-4d24c15925ca"/>
    <xsd:import namespace="228f80bf-2fee-44f1-a5bd-d27b7f33eb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e079dd-9e28-44c8-a50b-4d24c15925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8f80bf-2fee-44f1-a5bd-d27b7f33eb0b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16EA741-4A0E-4017-8311-F206B19641C8}">
  <ds:schemaRefs>
    <ds:schemaRef ds:uri="http://schemas.microsoft.com/office/2006/metadata/properties"/>
    <ds:schemaRef ds:uri="45746aca-2ec4-49e0-814a-222fad9c7258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b36b02d0-a303-4afa-b541-5f52ee16d8a0"/>
    <ds:schemaRef ds:uri="http://purl.org/dc/elements/1.1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E1EC48A-BE78-49EF-AFB5-D5F55FDC57F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9C26D0-4FC6-4282-BA63-7AD27E09D95B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40</TotalTime>
  <Words>334</Words>
  <Application>Microsoft Office PowerPoint</Application>
  <PresentationFormat>Widescreen</PresentationFormat>
  <Paragraphs>3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ourier New</vt:lpstr>
      <vt:lpstr>Leelawadee</vt:lpstr>
      <vt:lpstr>Trebuchet MS</vt:lpstr>
      <vt:lpstr>I&amp;D Directorate Template</vt:lpstr>
      <vt:lpstr>Implementation and Delivery</vt:lpstr>
      <vt:lpstr>1_Implementation and Delivery</vt:lpstr>
      <vt:lpstr>4_Strateg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yer, Poonam (BEIS)</dc:creator>
  <cp:lastModifiedBy>Tom Burns</cp:lastModifiedBy>
  <cp:revision>11</cp:revision>
  <dcterms:created xsi:type="dcterms:W3CDTF">2021-03-11T09:25:57Z</dcterms:created>
  <dcterms:modified xsi:type="dcterms:W3CDTF">2021-09-23T13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Business Unit">
    <vt:lpwstr>1;#BEIS:Industrial Strategy Science and Innovation:Business Growth:SME Policy|f11b784d-5c55-4150-b567-17655cbbdd9c</vt:lpwstr>
  </property>
  <property fmtid="{D5CDD505-2E9C-101B-9397-08002B2CF9AE}" pid="3" name="_dlc_DocIdItemGuid">
    <vt:lpwstr>241a259e-e590-4357-bbad-71c491ba9ec8</vt:lpwstr>
  </property>
  <property fmtid="{D5CDD505-2E9C-101B-9397-08002B2CF9AE}" pid="4" name="ContentTypeId">
    <vt:lpwstr>0x01010083947C9AB8DCA642A3249ECD5F4CED96</vt:lpwstr>
  </property>
  <property fmtid="{D5CDD505-2E9C-101B-9397-08002B2CF9AE}" pid="5" name="MSIP_Label_b47d098f-2640-4837-b575-e0be04df0525_Enabled">
    <vt:lpwstr>True</vt:lpwstr>
  </property>
  <property fmtid="{D5CDD505-2E9C-101B-9397-08002B2CF9AE}" pid="6" name="MSIP_Label_b47d098f-2640-4837-b575-e0be04df0525_SiteId">
    <vt:lpwstr>98f1bb3a-5efa-4782-88ba-bd897db60e62</vt:lpwstr>
  </property>
  <property fmtid="{D5CDD505-2E9C-101B-9397-08002B2CF9AE}" pid="7" name="MSIP_Label_b47d098f-2640-4837-b575-e0be04df0525_Owner">
    <vt:lpwstr>787224@derby.ac.uk</vt:lpwstr>
  </property>
  <property fmtid="{D5CDD505-2E9C-101B-9397-08002B2CF9AE}" pid="8" name="MSIP_Label_b47d098f-2640-4837-b575-e0be04df0525_SetDate">
    <vt:lpwstr>2021-09-23T13:17:39.6885933Z</vt:lpwstr>
  </property>
  <property fmtid="{D5CDD505-2E9C-101B-9397-08002B2CF9AE}" pid="9" name="MSIP_Label_b47d098f-2640-4837-b575-e0be04df0525_Name">
    <vt:lpwstr>Internal</vt:lpwstr>
  </property>
  <property fmtid="{D5CDD505-2E9C-101B-9397-08002B2CF9AE}" pid="10" name="MSIP_Label_b47d098f-2640-4837-b575-e0be04df0525_Application">
    <vt:lpwstr>Microsoft Azure Information Protection</vt:lpwstr>
  </property>
  <property fmtid="{D5CDD505-2E9C-101B-9397-08002B2CF9AE}" pid="11" name="MSIP_Label_b47d098f-2640-4837-b575-e0be04df0525_Extended_MSFT_Method">
    <vt:lpwstr>Automatic</vt:lpwstr>
  </property>
  <property fmtid="{D5CDD505-2E9C-101B-9397-08002B2CF9AE}" pid="12" name="MSIP_Label_501a0944-9d81-4c75-b857-2ec7863455b7_Enabled">
    <vt:lpwstr>True</vt:lpwstr>
  </property>
  <property fmtid="{D5CDD505-2E9C-101B-9397-08002B2CF9AE}" pid="13" name="MSIP_Label_501a0944-9d81-4c75-b857-2ec7863455b7_SiteId">
    <vt:lpwstr>98f1bb3a-5efa-4782-88ba-bd897db60e62</vt:lpwstr>
  </property>
  <property fmtid="{D5CDD505-2E9C-101B-9397-08002B2CF9AE}" pid="14" name="MSIP_Label_501a0944-9d81-4c75-b857-2ec7863455b7_Owner">
    <vt:lpwstr>787224@derby.ac.uk</vt:lpwstr>
  </property>
  <property fmtid="{D5CDD505-2E9C-101B-9397-08002B2CF9AE}" pid="15" name="MSIP_Label_501a0944-9d81-4c75-b857-2ec7863455b7_SetDate">
    <vt:lpwstr>2021-09-23T13:17:39.6885933Z</vt:lpwstr>
  </property>
  <property fmtid="{D5CDD505-2E9C-101B-9397-08002B2CF9AE}" pid="16" name="MSIP_Label_501a0944-9d81-4c75-b857-2ec7863455b7_Name">
    <vt:lpwstr>Internal with visible marking</vt:lpwstr>
  </property>
  <property fmtid="{D5CDD505-2E9C-101B-9397-08002B2CF9AE}" pid="17" name="MSIP_Label_501a0944-9d81-4c75-b857-2ec7863455b7_Application">
    <vt:lpwstr>Microsoft Azure Information Protection</vt:lpwstr>
  </property>
  <property fmtid="{D5CDD505-2E9C-101B-9397-08002B2CF9AE}" pid="18" name="MSIP_Label_501a0944-9d81-4c75-b857-2ec7863455b7_Parent">
    <vt:lpwstr>b47d098f-2640-4837-b575-e0be04df0525</vt:lpwstr>
  </property>
  <property fmtid="{D5CDD505-2E9C-101B-9397-08002B2CF9AE}" pid="19" name="MSIP_Label_501a0944-9d81-4c75-b857-2ec7863455b7_Extended_MSFT_Method">
    <vt:lpwstr>Automatic</vt:lpwstr>
  </property>
  <property fmtid="{D5CDD505-2E9C-101B-9397-08002B2CF9AE}" pid="20" name="MSIP_Label_ba62f585-b40f-4ab9-bafe-39150f03d124_Enabled">
    <vt:lpwstr>True</vt:lpwstr>
  </property>
  <property fmtid="{D5CDD505-2E9C-101B-9397-08002B2CF9AE}" pid="21" name="MSIP_Label_ba62f585-b40f-4ab9-bafe-39150f03d124_SiteId">
    <vt:lpwstr>cbac7005-02c1-43eb-b497-e6492d1b2dd8</vt:lpwstr>
  </property>
  <property fmtid="{D5CDD505-2E9C-101B-9397-08002B2CF9AE}" pid="22" name="MSIP_Label_ba62f585-b40f-4ab9-bafe-39150f03d124_SetDate">
    <vt:lpwstr>2021-03-11T09:33:33Z</vt:lpwstr>
  </property>
  <property fmtid="{D5CDD505-2E9C-101B-9397-08002B2CF9AE}" pid="23" name="MSIP_Label_ba62f585-b40f-4ab9-bafe-39150f03d124_Name">
    <vt:lpwstr>OFFICIAL</vt:lpwstr>
  </property>
  <property fmtid="{D5CDD505-2E9C-101B-9397-08002B2CF9AE}" pid="24" name="Sensitivity">
    <vt:lpwstr>Internal Internal with visible marking OFFICIAL</vt:lpwstr>
  </property>
</Properties>
</file>